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192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82" d="100"/>
          <a:sy n="82" d="100"/>
        </p:scale>
        <p:origin x="672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3A7893-D391-4B2C-88B1-849C3BE4F768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DC1F38-AC76-474E-9ACB-1CC826968D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1682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745B09-AD31-409C-B2BB-E7C534396A2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2083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E85A82-97F6-5D6C-FC58-9E043A497A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340C88-4D85-F370-E91E-8E8A4EA670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2A3637-3F06-E773-450F-0051E8DB9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A4CA8-3E91-4C3A-AA2D-B8E8737BD1F0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DBB96-044B-94C3-1B8B-ACFC7FCEA3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6D224F-F70E-6F7C-D987-3B7EEFC8F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18B061-4CC7-4D6B-BA78-A99797AF2B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6651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037660-29D7-7D29-1BF0-61110F08EE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BE42FA3-981D-679F-9816-F0042D9596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828AF5-AF7E-03E5-BAF4-3CD68E524A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A4CA8-3E91-4C3A-AA2D-B8E8737BD1F0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84BBB0-F048-56D6-18EE-24537A4F97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3A6A9C-0EDC-BA61-CEAD-2EE1912D72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18B061-4CC7-4D6B-BA78-A99797AF2B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075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2DA0DC8-625A-49B1-C015-E023BAB6CE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A7E504E-3065-60EF-5104-80E253FDB2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98D44E-2B24-8745-CF7E-8DBE37CB06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A4CA8-3E91-4C3A-AA2D-B8E8737BD1F0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329360-3483-9F11-6E45-09D0CBB516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6BA32E-44B5-5062-77CB-0FACDAA667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18B061-4CC7-4D6B-BA78-A99797AF2B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3508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3"/>
            <a:ext cx="1142523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57188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3pPr>
            <a:lvl4pPr marL="539750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4pPr>
            <a:lvl5pPr marL="714375" marR="0" indent="-17462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1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err="1"/>
          </a:p>
        </p:txBody>
      </p:sp>
      <p:sp>
        <p:nvSpPr>
          <p:cNvPr id="15" name="TextBox 24"/>
          <p:cNvSpPr txBox="1">
            <a:spLocks noChangeArrowheads="1"/>
          </p:cNvSpPr>
          <p:nvPr userDrawn="1"/>
        </p:nvSpPr>
        <p:spPr bwMode="auto">
          <a:xfrm>
            <a:off x="378794" y="6596401"/>
            <a:ext cx="2920999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ＭＳ Ｐゴシック" charset="0"/>
                <a:cs typeface="3M Circular TT Book" panose="020B0604020101020102" pitchFamily="34" charset="0"/>
              </a:rPr>
              <a:t>©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ＭＳ Ｐゴシック" charset="0"/>
                <a:cs typeface="3M Circular TT Book" panose="020B0604020101020102" pitchFamily="34" charset="0"/>
              </a:rPr>
              <a:t>Prizmetrics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ＭＳ Ｐゴシック" charset="0"/>
                <a:cs typeface="3M Circular TT Book" panose="020B0604020101020102" pitchFamily="34" charset="0"/>
              </a:rPr>
              <a:t> 2023.  All Rights Reserved. </a:t>
            </a: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Confidential.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 panose="020B0604020101020102" pitchFamily="34" charset="0"/>
              <a:ea typeface="ＭＳ Ｐゴシック" charset="0"/>
              <a:cs typeface="3M Circular TT Book" panose="020B06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8968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4A318-92B8-497B-B3E4-D23E30BDC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C967F9-150C-58E8-BF31-E816E20647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00C16D-B6D8-64FF-3245-DD5857DF17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A4CA8-3E91-4C3A-AA2D-B8E8737BD1F0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CAEBC5-9A62-46BE-695E-6766B9E538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C46C60-F2AD-D1FF-BA26-4D53BF383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18B061-4CC7-4D6B-BA78-A99797AF2B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1098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D5D2D-78E6-F901-2949-44539AF2C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37DFC9-26E1-91FB-B0C5-3EB503380F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862A30-2756-42DE-4023-B696E4CE5E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A4CA8-3E91-4C3A-AA2D-B8E8737BD1F0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ED3149-8C6F-6675-0126-B40C7CF71D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8DFAF1-E037-60A0-6788-FAF4DBAD4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18B061-4CC7-4D6B-BA78-A99797AF2B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6201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E493-A42B-5F53-7B3A-F2AE6EAB42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4E5E11-6794-DA2B-3D4D-0DB3C61966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34780E-4B2B-EF1E-833A-7543E7AF9B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022195-FE95-F734-EB38-537ACB2CF9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A4CA8-3E91-4C3A-AA2D-B8E8737BD1F0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4911C2-E468-73BE-F0F8-A9131C989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BF450DB-956F-4A29-A6F9-05CDAE0FA7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18B061-4CC7-4D6B-BA78-A99797AF2B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6590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77C72-5E38-F69A-DCED-9AFEB48185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757203-EE46-177B-2DF2-480DC504B3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74A80B-C82C-B731-1CF2-72E65A8E36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76D7FF-DC9E-CD25-9034-E8A0D7C650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160CE1-7B49-B0C5-869E-F47AA457AAE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5D394D-6A21-0673-0B1C-11D4630CB1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A4CA8-3E91-4C3A-AA2D-B8E8737BD1F0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8564627-139E-5211-3DE5-2110BBB410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E53A116-D6F2-F0F4-79B8-F1AE5E6C65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18B061-4CC7-4D6B-BA78-A99797AF2B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65214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58E88-68DA-7A79-C5C6-A777ECCAEA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D7F48D1-8D2E-A396-206A-C1C14EC8E1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A4CA8-3E91-4C3A-AA2D-B8E8737BD1F0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2EA7A0-15CB-0B99-B436-16BCF2E8B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07F5EE-6A9A-72A3-FCE8-C83C9BB3FE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18B061-4CC7-4D6B-BA78-A99797AF2B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7311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FF9999-1602-846F-A796-1233D05461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A4CA8-3E91-4C3A-AA2D-B8E8737BD1F0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1A5D5DF-9ED1-A84B-C861-7A6C89C31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E4FA52-F409-F27F-9367-DF47174F0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18B061-4CC7-4D6B-BA78-A99797AF2B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249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A3C379-9D38-0DE1-ADBA-9E00763C5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0DDF67-5455-5E74-DDBC-D71F11D119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A32B7FF-DF75-F82C-2262-B01F4C6D6A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2413D9-74B8-1CE6-0131-84797EC3B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A4CA8-3E91-4C3A-AA2D-B8E8737BD1F0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312A89-DE53-0A9E-8E0D-F870700010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9CC019-FC97-C2B8-AFB7-9D22BACB2E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18B061-4CC7-4D6B-BA78-A99797AF2B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388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AFFFBF-E584-0AD3-0E46-57F3931A2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F7E421-614A-2B9A-59D2-9E13BECAB8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2F971D-AA8B-07D4-6A6D-0FDD53537D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858927-7AF8-F8FB-8DDA-4CCBD39BD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A4CA8-3E91-4C3A-AA2D-B8E8737BD1F0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F9FC43-B27C-C45F-0218-1A44FD8C7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A512C2-D421-96F0-E853-053C6656BD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18B061-4CC7-4D6B-BA78-A99797AF2B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81862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C7EACC-1427-2FB2-F46A-D4A0946EBF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79F6B4-3A77-2B31-524C-2DAFEB88B9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707EDE-C2FB-F093-657E-79553C121F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CA4CA8-3E91-4C3A-AA2D-B8E8737BD1F0}" type="datetimeFigureOut">
              <a:rPr lang="en-US" smtClean="0"/>
              <a:t>2/2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65A83F-7BF0-A9C6-49E0-C4EED9E69C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564164-5490-91E2-0419-21693DA06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18B061-4CC7-4D6B-BA78-A99797AF2B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975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7" imgH="288" progId="TCLayout.ActiveDocument.1">
                  <p:embed/>
                </p:oleObj>
              </mc:Choice>
              <mc:Fallback>
                <p:oleObj name="think-cell Slide" r:id="rId4" imgW="287" imgH="28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6238875" y="4214082"/>
            <a:ext cx="5355980" cy="224313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58093" y="278391"/>
            <a:ext cx="11151622" cy="52268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ld"/>
                <a:ea typeface="+mj-ea"/>
                <a:cs typeface="+mj-cs"/>
              </a:rPr>
              <a:t>Prizmetrics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ld"/>
                <a:ea typeface="+mj-ea"/>
                <a:cs typeface="+mj-cs"/>
              </a:rPr>
              <a:t>: Industrial Project Jumpstart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ld"/>
                <a:ea typeface="+mj-ea"/>
                <a:cs typeface="+mj-cs"/>
              </a:rPr>
              <a:t>Problem Statement &amp; Desired Outcome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ld"/>
                <a:ea typeface="+mj-ea"/>
                <a:cs typeface="+mj-cs"/>
              </a:rPr>
              <a:t> </a:t>
            </a:r>
          </a:p>
        </p:txBody>
      </p:sp>
      <p:sp>
        <p:nvSpPr>
          <p:cNvPr id="7" name="Rectangle 6"/>
          <p:cNvSpPr/>
          <p:nvPr/>
        </p:nvSpPr>
        <p:spPr>
          <a:xfrm>
            <a:off x="617660" y="1123950"/>
            <a:ext cx="5356225" cy="371475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Problem Statement</a:t>
            </a:r>
          </a:p>
        </p:txBody>
      </p:sp>
      <p:sp>
        <p:nvSpPr>
          <p:cNvPr id="10" name="Rectangle 9"/>
          <p:cNvSpPr/>
          <p:nvPr/>
        </p:nvSpPr>
        <p:spPr>
          <a:xfrm>
            <a:off x="6238875" y="3842608"/>
            <a:ext cx="5353049" cy="371475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Scop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238875" y="1122759"/>
            <a:ext cx="5353049" cy="371475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rgbClr val="002060"/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80000" rIns="180000" bIns="18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Desired Outcomes (Examples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882251" y="4623765"/>
            <a:ext cx="1608134" cy="6848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Consumer produc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3M Circular TT Light" panose="020B0404020101020102" pitchFamily="34" charset="0"/>
                <a:cs typeface="3M Circular TT Light" panose="020B0404020101020102" pitchFamily="34" charset="0"/>
              </a:rPr>
              <a:t>Highly specified product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529450" y="4623765"/>
            <a:ext cx="3062225" cy="14080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All Industrial businesses which utilize distribution as a sales model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Scalable to appropriate customer size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Required: Sales team alignment</a:t>
            </a:r>
          </a:p>
          <a:p>
            <a:pPr marL="1714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Key support functions currently within target companie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38147" y="1527284"/>
            <a:ext cx="5355980" cy="496382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238875" y="1495425"/>
            <a:ext cx="5355980" cy="227503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6519925" y="4551613"/>
            <a:ext cx="285553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10096500" y="4551613"/>
            <a:ext cx="12763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>
          <a:xfrm>
            <a:off x="6447490" y="4283485"/>
            <a:ext cx="9236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In-Scop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9991725" y="4283485"/>
            <a:ext cx="13179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Out-of-Scope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519925" y="1593129"/>
            <a:ext cx="4621567" cy="18774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 Short-term action plan (&lt;2 years)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Identify target customers using a customized prioritization matrix. Efficient asset allocation for profitable sales growth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3M Circular TT Light" panose="020B0404020101020102" pitchFamily="34" charset="0"/>
                <a:cs typeface="3M Circular TT Light" panose="020B0404020101020102" pitchFamily="34" charset="0"/>
              </a:rPr>
              <a:t>Understand go-to-market proces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  <a:p>
            <a:pPr marL="628650" lvl="1" indent="-17145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Action plans that are immediately </a:t>
            </a:r>
            <a:r>
              <a:rPr lang="en-US" sz="1400" dirty="0">
                <a:solidFill>
                  <a:prstClr val="black"/>
                </a:solidFill>
                <a:latin typeface="3M Circular TT Light" panose="020B0404020101020102" pitchFamily="34" charset="0"/>
                <a:cs typeface="3M Circular TT Light" panose="020B0404020101020102" pitchFamily="34" charset="0"/>
              </a:rPr>
              <a:t>deployable</a:t>
            </a:r>
          </a:p>
          <a:p>
            <a:pPr marL="628650" lvl="1" indent="-171450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prstClr val="black"/>
                </a:solidFill>
                <a:latin typeface="3M Circular TT Light" panose="020B0404020101020102" pitchFamily="34" charset="0"/>
                <a:cs typeface="3M Circular TT Light" panose="020B0404020101020102" pitchFamily="34" charset="0"/>
              </a:rPr>
              <a:t>Capabilities that must be developed to secure long-term competitive advantage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88485" y="1548233"/>
            <a:ext cx="4811637" cy="15311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Industrial markets are comprised of a non-linear, end-to-end value chain. Data sources are abundant yet disconnected.  But its customers are experiencing behavioral change…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  <a:p>
            <a:pPr lvl="0" algn="ctr">
              <a:spcAft>
                <a:spcPts val="300"/>
              </a:spcAft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…can we anticipate and predict these shifts as they occur? Can we use that insight to proactively position ourselves to help our partners succeed in this new </a:t>
            </a:r>
            <a:r>
              <a:rPr lang="en-US" sz="1200" b="1" dirty="0">
                <a:solidFill>
                  <a:prstClr val="black"/>
                </a:solidFill>
                <a:latin typeface="3M Circular TT Light" panose="020B0404020101020102" pitchFamily="34" charset="0"/>
                <a:cs typeface="3M Circular TT Light" panose="020B0404020101020102" pitchFamily="34" charset="0"/>
              </a:rPr>
              <a:t>reality, improving revenue generation?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</p:txBody>
      </p:sp>
      <p:sp>
        <p:nvSpPr>
          <p:cNvPr id="35" name="Isosceles Triangle 34"/>
          <p:cNvSpPr/>
          <p:nvPr/>
        </p:nvSpPr>
        <p:spPr>
          <a:xfrm rot="10800000">
            <a:off x="888240" y="2972704"/>
            <a:ext cx="4811882" cy="307777"/>
          </a:xfrm>
          <a:prstGeom prst="triangl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871925" y="3646597"/>
            <a:ext cx="495929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What key players, technologies, trends, and competitive forces are shaping the market? Can we tap into these key players using predictive analytics?</a:t>
            </a:r>
          </a:p>
        </p:txBody>
      </p:sp>
      <p:sp>
        <p:nvSpPr>
          <p:cNvPr id="37" name="Rectangle 36"/>
          <p:cNvSpPr/>
          <p:nvPr/>
        </p:nvSpPr>
        <p:spPr>
          <a:xfrm>
            <a:off x="723233" y="3202151"/>
            <a:ext cx="136287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Key Question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C21DC62-B7F7-4BB6-8967-2EE2511F8D12}"/>
              </a:ext>
            </a:extLst>
          </p:cNvPr>
          <p:cNvSpPr txBox="1"/>
          <p:nvPr/>
        </p:nvSpPr>
        <p:spPr>
          <a:xfrm>
            <a:off x="871924" y="7016856"/>
            <a:ext cx="5224076" cy="24391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Who are ISMC customers, what are their strengths, what is their vision for the future?  What could disrupt them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How large/attractive is the industrial distribution market, and how will it grow/shrink in the 5 yea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What are ISMC’s capabilities today? How should they change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What do end-users value?  What will they value in 5 years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What adjustments must be made to the ISMC to retain a competitive advantage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Light" panose="020B0404020101020102" pitchFamily="34" charset="0"/>
              <a:ea typeface="+mn-ea"/>
              <a:cs typeface="3M Circular TT Light" panose="020B0404020101020102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21E00EC-A363-48C2-A89B-312DE8963883}"/>
              </a:ext>
            </a:extLst>
          </p:cNvPr>
          <p:cNvSpPr txBox="1"/>
          <p:nvPr/>
        </p:nvSpPr>
        <p:spPr>
          <a:xfrm>
            <a:off x="871925" y="4305731"/>
            <a:ext cx="4959298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What can we conclude about the likely “future state” of the industrial channel? What will it look like in five years’ time? What are the risks and opportunities for us?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523C4FB-E05F-4B46-95C2-068BB72FC0DE}"/>
              </a:ext>
            </a:extLst>
          </p:cNvPr>
          <p:cNvSpPr txBox="1"/>
          <p:nvPr/>
        </p:nvSpPr>
        <p:spPr>
          <a:xfrm>
            <a:off x="871925" y="5183851"/>
            <a:ext cx="4959298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What capabilities &amp; strategies should WE be driving to position for profitable growth?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11F6E39-BAF1-41AD-A641-90C7A64793CB}"/>
              </a:ext>
            </a:extLst>
          </p:cNvPr>
          <p:cNvSpPr txBox="1"/>
          <p:nvPr/>
        </p:nvSpPr>
        <p:spPr>
          <a:xfrm>
            <a:off x="888240" y="5650494"/>
            <a:ext cx="4959298" cy="48474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How can industrial distribution drive end-user relevance directly?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Light" panose="020B0404020101020102" pitchFamily="34" charset="0"/>
                <a:ea typeface="+mn-ea"/>
                <a:cs typeface="3M Circular TT Light" panose="020B0404020101020102" pitchFamily="34" charset="0"/>
              </a:rPr>
              <a:t>What role should analytics capabilities play to help scale growth? </a:t>
            </a:r>
          </a:p>
        </p:txBody>
      </p:sp>
    </p:spTree>
    <p:extLst>
      <p:ext uri="{BB962C8B-B14F-4D97-AF65-F5344CB8AC3E}">
        <p14:creationId xmlns:p14="http://schemas.microsoft.com/office/powerpoint/2010/main" val="3868896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0</Words>
  <Application>Microsoft Office PowerPoint</Application>
  <PresentationFormat>Widescreen</PresentationFormat>
  <Paragraphs>3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3M Circular TT Bold</vt:lpstr>
      <vt:lpstr>3M Circular TT Book</vt:lpstr>
      <vt:lpstr>3M Circular TT Light</vt:lpstr>
      <vt:lpstr>Arial</vt:lpstr>
      <vt:lpstr>Calibri</vt:lpstr>
      <vt:lpstr>Calibri Light</vt:lpstr>
      <vt:lpstr>Wingdings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im Kinsky</dc:creator>
  <cp:lastModifiedBy>Tim Kinsky</cp:lastModifiedBy>
  <cp:revision>1</cp:revision>
  <dcterms:created xsi:type="dcterms:W3CDTF">2023-02-25T22:12:13Z</dcterms:created>
  <dcterms:modified xsi:type="dcterms:W3CDTF">2023-02-25T22:13:10Z</dcterms:modified>
</cp:coreProperties>
</file>